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9" r:id="rId5"/>
    <p:sldMasterId id="2147483707" r:id="rId6"/>
  </p:sldMasterIdLst>
  <p:notesMasterIdLst>
    <p:notesMasterId r:id="rId9"/>
  </p:notesMasterIdLst>
  <p:sldIdLst>
    <p:sldId id="2134805478" r:id="rId7"/>
    <p:sldId id="2145707184" r:id="rId8"/>
  </p:sldIdLst>
  <p:sldSz cx="12192000" cy="6858000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07AE37D-E18E-498E-B444-EB09842D55DF}" v="7" dt="2024-09-27T11:57:32.79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mian Bąkowski" userId="148b5550-951f-4469-a424-8c0f930d3d0a" providerId="ADAL" clId="{607AE37D-E18E-498E-B444-EB09842D55DF}"/>
    <pc:docChg chg="undo custSel modSld">
      <pc:chgData name="Damian Bąkowski" userId="148b5550-951f-4469-a424-8c0f930d3d0a" providerId="ADAL" clId="{607AE37D-E18E-498E-B444-EB09842D55DF}" dt="2024-09-27T11:58:26.103" v="59" actId="6549"/>
      <pc:docMkLst>
        <pc:docMk/>
      </pc:docMkLst>
      <pc:sldChg chg="addSp delSp modSp mod">
        <pc:chgData name="Damian Bąkowski" userId="148b5550-951f-4469-a424-8c0f930d3d0a" providerId="ADAL" clId="{607AE37D-E18E-498E-B444-EB09842D55DF}" dt="2024-09-27T11:58:26.103" v="59" actId="6549"/>
        <pc:sldMkLst>
          <pc:docMk/>
          <pc:sldMk cId="1123231115" sldId="2134805478"/>
        </pc:sldMkLst>
        <pc:spChg chg="del">
          <ac:chgData name="Damian Bąkowski" userId="148b5550-951f-4469-a424-8c0f930d3d0a" providerId="ADAL" clId="{607AE37D-E18E-498E-B444-EB09842D55DF}" dt="2024-09-27T11:57:34.994" v="45" actId="478"/>
          <ac:spMkLst>
            <pc:docMk/>
            <pc:sldMk cId="1123231115" sldId="2134805478"/>
            <ac:spMk id="4" creationId="{D8D3E6C6-C92A-9C49-83C9-47E6C5CCB950}"/>
          </ac:spMkLst>
        </pc:spChg>
        <pc:spChg chg="mod">
          <ac:chgData name="Damian Bąkowski" userId="148b5550-951f-4469-a424-8c0f930d3d0a" providerId="ADAL" clId="{607AE37D-E18E-498E-B444-EB09842D55DF}" dt="2024-09-27T11:58:26.103" v="59" actId="6549"/>
          <ac:spMkLst>
            <pc:docMk/>
            <pc:sldMk cId="1123231115" sldId="2134805478"/>
            <ac:spMk id="5" creationId="{FDAAE502-6082-D14C-9D31-2E3F4BA95BE7}"/>
          </ac:spMkLst>
        </pc:spChg>
        <pc:picChg chg="del">
          <ac:chgData name="Damian Bąkowski" userId="148b5550-951f-4469-a424-8c0f930d3d0a" providerId="ADAL" clId="{607AE37D-E18E-498E-B444-EB09842D55DF}" dt="2024-09-27T11:57:32.793" v="44" actId="478"/>
          <ac:picMkLst>
            <pc:docMk/>
            <pc:sldMk cId="1123231115" sldId="2134805478"/>
            <ac:picMk id="2" creationId="{A14820B9-BFF9-4DE0-CA50-2DD213AB7C05}"/>
          </ac:picMkLst>
        </pc:picChg>
        <pc:picChg chg="add del mod">
          <ac:chgData name="Damian Bąkowski" userId="148b5550-951f-4469-a424-8c0f930d3d0a" providerId="ADAL" clId="{607AE37D-E18E-498E-B444-EB09842D55DF}" dt="2024-09-27T11:55:08.750" v="22" actId="22"/>
          <ac:picMkLst>
            <pc:docMk/>
            <pc:sldMk cId="1123231115" sldId="2134805478"/>
            <ac:picMk id="6" creationId="{7456893F-E7A9-37DB-B13D-DD9780AAD9B6}"/>
          </ac:picMkLst>
        </pc:picChg>
        <pc:picChg chg="add del mod">
          <ac:chgData name="Damian Bąkowski" userId="148b5550-951f-4469-a424-8c0f930d3d0a" providerId="ADAL" clId="{607AE37D-E18E-498E-B444-EB09842D55DF}" dt="2024-09-27T11:56:18.753" v="29" actId="478"/>
          <ac:picMkLst>
            <pc:docMk/>
            <pc:sldMk cId="1123231115" sldId="2134805478"/>
            <ac:picMk id="9" creationId="{F4811D94-937F-1D53-070D-2289B342771D}"/>
          </ac:picMkLst>
        </pc:picChg>
        <pc:picChg chg="add del mod">
          <ac:chgData name="Damian Bąkowski" userId="148b5550-951f-4469-a424-8c0f930d3d0a" providerId="ADAL" clId="{607AE37D-E18E-498E-B444-EB09842D55DF}" dt="2024-09-27T11:56:33.137" v="34" actId="478"/>
          <ac:picMkLst>
            <pc:docMk/>
            <pc:sldMk cId="1123231115" sldId="2134805478"/>
            <ac:picMk id="11" creationId="{FD3F434D-769C-D54A-FF5A-189700F01537}"/>
          </ac:picMkLst>
        </pc:picChg>
        <pc:picChg chg="add del mod">
          <ac:chgData name="Damian Bąkowski" userId="148b5550-951f-4469-a424-8c0f930d3d0a" providerId="ADAL" clId="{607AE37D-E18E-498E-B444-EB09842D55DF}" dt="2024-09-27T11:56:56.494" v="38" actId="478"/>
          <ac:picMkLst>
            <pc:docMk/>
            <pc:sldMk cId="1123231115" sldId="2134805478"/>
            <ac:picMk id="13" creationId="{47F6B346-FAC5-B36F-8DB9-B8DC7CDE1644}"/>
          </ac:picMkLst>
        </pc:picChg>
        <pc:picChg chg="add mod ord">
          <ac:chgData name="Damian Bąkowski" userId="148b5550-951f-4469-a424-8c0f930d3d0a" providerId="ADAL" clId="{607AE37D-E18E-498E-B444-EB09842D55DF}" dt="2024-09-27T11:57:31.157" v="43" actId="167"/>
          <ac:picMkLst>
            <pc:docMk/>
            <pc:sldMk cId="1123231115" sldId="2134805478"/>
            <ac:picMk id="15" creationId="{81F7F593-03D3-3548-1887-75B3AA027989}"/>
          </ac:picMkLst>
        </pc:picChg>
        <pc:cxnChg chg="add mod">
          <ac:chgData name="Damian Bąkowski" userId="148b5550-951f-4469-a424-8c0f930d3d0a" providerId="ADAL" clId="{607AE37D-E18E-498E-B444-EB09842D55DF}" dt="2024-09-27T11:58:09.975" v="51" actId="1036"/>
          <ac:cxnSpMkLst>
            <pc:docMk/>
            <pc:sldMk cId="1123231115" sldId="2134805478"/>
            <ac:cxnSpMk id="17" creationId="{4F185139-0168-12D4-516B-9B79AD6A4FFC}"/>
          </ac:cxnSpMkLst>
        </pc:cxnChg>
      </pc:sldChg>
      <pc:sldChg chg="addSp delSp modSp mod">
        <pc:chgData name="Damian Bąkowski" userId="148b5550-951f-4469-a424-8c0f930d3d0a" providerId="ADAL" clId="{607AE37D-E18E-498E-B444-EB09842D55DF}" dt="2024-09-27T11:55:13.785" v="24" actId="478"/>
        <pc:sldMkLst>
          <pc:docMk/>
          <pc:sldMk cId="3449206269" sldId="2145707184"/>
        </pc:sldMkLst>
        <pc:spChg chg="mod">
          <ac:chgData name="Damian Bąkowski" userId="148b5550-951f-4469-a424-8c0f930d3d0a" providerId="ADAL" clId="{607AE37D-E18E-498E-B444-EB09842D55DF}" dt="2024-09-27T11:51:19.480" v="14" actId="6549"/>
          <ac:spMkLst>
            <pc:docMk/>
            <pc:sldMk cId="3449206269" sldId="2145707184"/>
            <ac:spMk id="5" creationId="{8F375C25-1736-50F9-E6AE-8DE8407244FB}"/>
          </ac:spMkLst>
        </pc:spChg>
        <pc:picChg chg="add del">
          <ac:chgData name="Damian Bąkowski" userId="148b5550-951f-4469-a424-8c0f930d3d0a" providerId="ADAL" clId="{607AE37D-E18E-498E-B444-EB09842D55DF}" dt="2024-09-27T11:55:13.785" v="24" actId="478"/>
          <ac:picMkLst>
            <pc:docMk/>
            <pc:sldMk cId="3449206269" sldId="2145707184"/>
            <ac:picMk id="2" creationId="{E094C5BB-72B4-7175-107C-45BF22890738}"/>
          </ac:picMkLst>
        </pc:picChg>
        <pc:picChg chg="add mod">
          <ac:chgData name="Damian Bąkowski" userId="148b5550-951f-4469-a424-8c0f930d3d0a" providerId="ADAL" clId="{607AE37D-E18E-498E-B444-EB09842D55DF}" dt="2024-09-27T11:55:11.952" v="23" actId="167"/>
          <ac:picMkLst>
            <pc:docMk/>
            <pc:sldMk cId="3449206269" sldId="2145707184"/>
            <ac:picMk id="1026" creationId="{675D6522-5B5D-BF60-6377-A5BCEA68990D}"/>
          </ac:picMkLst>
        </pc:picChg>
      </pc:sldChg>
    </pc:docChg>
  </pc:docChgLst>
  <pc:docChgLst>
    <pc:chgData name="Damian Bąkowski" userId="148b5550-951f-4469-a424-8c0f930d3d0a" providerId="ADAL" clId="{E614DB47-AF1B-46C5-99F6-F4D12F28B057}"/>
    <pc:docChg chg="undo custSel addSld delSld modSld sldOrd">
      <pc:chgData name="Damian Bąkowski" userId="148b5550-951f-4469-a424-8c0f930d3d0a" providerId="ADAL" clId="{E614DB47-AF1B-46C5-99F6-F4D12F28B057}" dt="2024-04-25T10:44:20.659" v="386" actId="20577"/>
      <pc:docMkLst>
        <pc:docMk/>
      </pc:docMkLst>
      <pc:sldChg chg="addSp delSp modSp mod delAnim">
        <pc:chgData name="Damian Bąkowski" userId="148b5550-951f-4469-a424-8c0f930d3d0a" providerId="ADAL" clId="{E614DB47-AF1B-46C5-99F6-F4D12F28B057}" dt="2024-04-25T07:15:32.587" v="158" actId="6549"/>
        <pc:sldMkLst>
          <pc:docMk/>
          <pc:sldMk cId="1123231115" sldId="2134805478"/>
        </pc:sldMkLst>
        <pc:spChg chg="mod">
          <ac:chgData name="Damian Bąkowski" userId="148b5550-951f-4469-a424-8c0f930d3d0a" providerId="ADAL" clId="{E614DB47-AF1B-46C5-99F6-F4D12F28B057}" dt="2024-04-25T07:15:32.587" v="158" actId="6549"/>
          <ac:spMkLst>
            <pc:docMk/>
            <pc:sldMk cId="1123231115" sldId="2134805478"/>
            <ac:spMk id="5" creationId="{FDAAE502-6082-D14C-9D31-2E3F4BA95BE7}"/>
          </ac:spMkLst>
        </pc:spChg>
        <pc:spChg chg="mod">
          <ac:chgData name="Damian Bąkowski" userId="148b5550-951f-4469-a424-8c0f930d3d0a" providerId="ADAL" clId="{E614DB47-AF1B-46C5-99F6-F4D12F28B057}" dt="2024-04-25T06:52:15.751" v="39" actId="20577"/>
          <ac:spMkLst>
            <pc:docMk/>
            <pc:sldMk cId="1123231115" sldId="2134805478"/>
            <ac:spMk id="8" creationId="{9D4C8798-A194-EC28-2BEF-DF04FE07C2E4}"/>
          </ac:spMkLst>
        </pc:spChg>
        <pc:picChg chg="add mod">
          <ac:chgData name="Damian Bąkowski" userId="148b5550-951f-4469-a424-8c0f930d3d0a" providerId="ADAL" clId="{E614DB47-AF1B-46C5-99F6-F4D12F28B057}" dt="2024-04-25T07:13:28.522" v="144" actId="1076"/>
          <ac:picMkLst>
            <pc:docMk/>
            <pc:sldMk cId="1123231115" sldId="2134805478"/>
            <ac:picMk id="2" creationId="{A14820B9-BFF9-4DE0-CA50-2DD213AB7C05}"/>
          </ac:picMkLst>
        </pc:picChg>
        <pc:picChg chg="del">
          <ac:chgData name="Damian Bąkowski" userId="148b5550-951f-4469-a424-8c0f930d3d0a" providerId="ADAL" clId="{E614DB47-AF1B-46C5-99F6-F4D12F28B057}" dt="2024-04-25T07:13:24.120" v="142" actId="478"/>
          <ac:picMkLst>
            <pc:docMk/>
            <pc:sldMk cId="1123231115" sldId="2134805478"/>
            <ac:picMk id="15" creationId="{81CD9C4D-3127-4D55-1105-5E1E62F8187E}"/>
          </ac:picMkLst>
        </pc:picChg>
      </pc:sldChg>
      <pc:sldChg chg="addSp delSp modSp mod ord">
        <pc:chgData name="Damian Bąkowski" userId="148b5550-951f-4469-a424-8c0f930d3d0a" providerId="ADAL" clId="{E614DB47-AF1B-46C5-99F6-F4D12F28B057}" dt="2024-04-25T10:44:20.659" v="386" actId="20577"/>
        <pc:sldMkLst>
          <pc:docMk/>
          <pc:sldMk cId="3449206269" sldId="2145707184"/>
        </pc:sldMkLst>
        <pc:spChg chg="mod">
          <ac:chgData name="Damian Bąkowski" userId="148b5550-951f-4469-a424-8c0f930d3d0a" providerId="ADAL" clId="{E614DB47-AF1B-46C5-99F6-F4D12F28B057}" dt="2024-04-25T06:52:54.722" v="71" actId="6549"/>
          <ac:spMkLst>
            <pc:docMk/>
            <pc:sldMk cId="3449206269" sldId="2145707184"/>
            <ac:spMk id="5" creationId="{8F375C25-1736-50F9-E6AE-8DE8407244FB}"/>
          </ac:spMkLst>
        </pc:spChg>
        <pc:spChg chg="mod">
          <ac:chgData name="Damian Bąkowski" userId="148b5550-951f-4469-a424-8c0f930d3d0a" providerId="ADAL" clId="{E614DB47-AF1B-46C5-99F6-F4D12F28B057}" dt="2024-04-25T10:44:20.659" v="386" actId="20577"/>
          <ac:spMkLst>
            <pc:docMk/>
            <pc:sldMk cId="3449206269" sldId="2145707184"/>
            <ac:spMk id="19" creationId="{AA7A91DF-7A9D-6F92-E4DC-94C582E97BA2}"/>
          </ac:spMkLst>
        </pc:spChg>
        <pc:picChg chg="add mod">
          <ac:chgData name="Damian Bąkowski" userId="148b5550-951f-4469-a424-8c0f930d3d0a" providerId="ADAL" clId="{E614DB47-AF1B-46C5-99F6-F4D12F28B057}" dt="2024-04-25T07:16:14.991" v="162" actId="14100"/>
          <ac:picMkLst>
            <pc:docMk/>
            <pc:sldMk cId="3449206269" sldId="2145707184"/>
            <ac:picMk id="2" creationId="{E094C5BB-72B4-7175-107C-45BF22890738}"/>
          </ac:picMkLst>
        </pc:picChg>
        <pc:picChg chg="del">
          <ac:chgData name="Damian Bąkowski" userId="148b5550-951f-4469-a424-8c0f930d3d0a" providerId="ADAL" clId="{E614DB47-AF1B-46C5-99F6-F4D12F28B057}" dt="2024-04-25T07:12:50.217" v="137" actId="478"/>
          <ac:picMkLst>
            <pc:docMk/>
            <pc:sldMk cId="3449206269" sldId="2145707184"/>
            <ac:picMk id="20" creationId="{394FA58D-B73C-DFA7-E74A-974C6F69BDB4}"/>
          </ac:picMkLst>
        </pc:picChg>
      </pc:sldChg>
      <pc:sldChg chg="addSp delSp modSp add del mod">
        <pc:chgData name="Damian Bąkowski" userId="148b5550-951f-4469-a424-8c0f930d3d0a" providerId="ADAL" clId="{E614DB47-AF1B-46C5-99F6-F4D12F28B057}" dt="2024-04-25T07:16:21.509" v="163" actId="47"/>
        <pc:sldMkLst>
          <pc:docMk/>
          <pc:sldMk cId="2411309986" sldId="2147473439"/>
        </pc:sldMkLst>
        <pc:spChg chg="add mod">
          <ac:chgData name="Damian Bąkowski" userId="148b5550-951f-4469-a424-8c0f930d3d0a" providerId="ADAL" clId="{E614DB47-AF1B-46C5-99F6-F4D12F28B057}" dt="2024-04-25T07:11:59.241" v="124"/>
          <ac:spMkLst>
            <pc:docMk/>
            <pc:sldMk cId="2411309986" sldId="2147473439"/>
            <ac:spMk id="2" creationId="{101F4D4E-EEF7-61F6-6857-AD5AF099908A}"/>
          </ac:spMkLst>
        </pc:spChg>
        <pc:spChg chg="add mod">
          <ac:chgData name="Damian Bąkowski" userId="148b5550-951f-4469-a424-8c0f930d3d0a" providerId="ADAL" clId="{E614DB47-AF1B-46C5-99F6-F4D12F28B057}" dt="2024-04-25T07:11:59.241" v="124"/>
          <ac:spMkLst>
            <pc:docMk/>
            <pc:sldMk cId="2411309986" sldId="2147473439"/>
            <ac:spMk id="3" creationId="{F08FB571-30F3-DF5A-8B29-2D332E83C77A}"/>
          </ac:spMkLst>
        </pc:spChg>
        <pc:spChg chg="del">
          <ac:chgData name="Damian Bąkowski" userId="148b5550-951f-4469-a424-8c0f930d3d0a" providerId="ADAL" clId="{E614DB47-AF1B-46C5-99F6-F4D12F28B057}" dt="2024-04-25T07:11:31.342" v="123" actId="478"/>
          <ac:spMkLst>
            <pc:docMk/>
            <pc:sldMk cId="2411309986" sldId="2147473439"/>
            <ac:spMk id="5" creationId="{F0C5A048-1ADE-A8E0-5DE0-CCE72BD98D1D}"/>
          </ac:spMkLst>
        </pc:spChg>
        <pc:picChg chg="del">
          <ac:chgData name="Damian Bąkowski" userId="148b5550-951f-4469-a424-8c0f930d3d0a" providerId="ADAL" clId="{E614DB47-AF1B-46C5-99F6-F4D12F28B057}" dt="2024-04-25T07:11:28.861" v="122" actId="478"/>
          <ac:picMkLst>
            <pc:docMk/>
            <pc:sldMk cId="2411309986" sldId="2147473439"/>
            <ac:picMk id="7" creationId="{FD5D86D4-10BB-2FA2-69FB-F351DB3CD4AC}"/>
          </ac:picMkLst>
        </pc:picChg>
      </pc:sldChg>
      <pc:sldChg chg="addSp delSp modSp del mod">
        <pc:chgData name="Damian Bąkowski" userId="148b5550-951f-4469-a424-8c0f930d3d0a" providerId="ADAL" clId="{E614DB47-AF1B-46C5-99F6-F4D12F28B057}" dt="2024-04-25T07:16:22.483" v="164" actId="47"/>
        <pc:sldMkLst>
          <pc:docMk/>
          <pc:sldMk cId="3326941582" sldId="2147473450"/>
        </pc:sldMkLst>
        <pc:spChg chg="del">
          <ac:chgData name="Damian Bąkowski" userId="148b5550-951f-4469-a424-8c0f930d3d0a" providerId="ADAL" clId="{E614DB47-AF1B-46C5-99F6-F4D12F28B057}" dt="2024-04-25T07:12:26.038" v="126" actId="478"/>
          <ac:spMkLst>
            <pc:docMk/>
            <pc:sldMk cId="3326941582" sldId="2147473450"/>
            <ac:spMk id="7" creationId="{D35179A4-95E9-F50B-993A-E3823E2BF84B}"/>
          </ac:spMkLst>
        </pc:spChg>
        <pc:spChg chg="del mod">
          <ac:chgData name="Damian Bąkowski" userId="148b5550-951f-4469-a424-8c0f930d3d0a" providerId="ADAL" clId="{E614DB47-AF1B-46C5-99F6-F4D12F28B057}" dt="2024-04-25T07:12:44.086" v="135" actId="478"/>
          <ac:spMkLst>
            <pc:docMk/>
            <pc:sldMk cId="3326941582" sldId="2147473450"/>
            <ac:spMk id="8" creationId="{FF3F54E0-0BCF-4D3F-8657-BC9B116BE31D}"/>
          </ac:spMkLst>
        </pc:spChg>
        <pc:spChg chg="del">
          <ac:chgData name="Damian Bąkowski" userId="148b5550-951f-4469-a424-8c0f930d3d0a" providerId="ADAL" clId="{E614DB47-AF1B-46C5-99F6-F4D12F28B057}" dt="2024-04-25T07:12:37.300" v="131" actId="478"/>
          <ac:spMkLst>
            <pc:docMk/>
            <pc:sldMk cId="3326941582" sldId="2147473450"/>
            <ac:spMk id="9" creationId="{5480936A-0BD9-9A3E-BF46-E9F087E5CF89}"/>
          </ac:spMkLst>
        </pc:spChg>
        <pc:spChg chg="del">
          <ac:chgData name="Damian Bąkowski" userId="148b5550-951f-4469-a424-8c0f930d3d0a" providerId="ADAL" clId="{E614DB47-AF1B-46C5-99F6-F4D12F28B057}" dt="2024-04-25T07:12:38.980" v="132" actId="478"/>
          <ac:spMkLst>
            <pc:docMk/>
            <pc:sldMk cId="3326941582" sldId="2147473450"/>
            <ac:spMk id="10" creationId="{FB28C518-17E2-C5C1-2ACE-C7399127CE9E}"/>
          </ac:spMkLst>
        </pc:spChg>
        <pc:spChg chg="del">
          <ac:chgData name="Damian Bąkowski" userId="148b5550-951f-4469-a424-8c0f930d3d0a" providerId="ADAL" clId="{E614DB47-AF1B-46C5-99F6-F4D12F28B057}" dt="2024-04-25T07:12:27.683" v="127" actId="478"/>
          <ac:spMkLst>
            <pc:docMk/>
            <pc:sldMk cId="3326941582" sldId="2147473450"/>
            <ac:spMk id="16" creationId="{3045ADBC-6038-7B67-3FD7-8A92131326B3}"/>
          </ac:spMkLst>
        </pc:spChg>
        <pc:spChg chg="del">
          <ac:chgData name="Damian Bąkowski" userId="148b5550-951f-4469-a424-8c0f930d3d0a" providerId="ADAL" clId="{E614DB47-AF1B-46C5-99F6-F4D12F28B057}" dt="2024-04-25T07:12:37.300" v="131" actId="478"/>
          <ac:spMkLst>
            <pc:docMk/>
            <pc:sldMk cId="3326941582" sldId="2147473450"/>
            <ac:spMk id="19" creationId="{2E4CC662-C64D-FBDB-4C0D-A8DDD4C47331}"/>
          </ac:spMkLst>
        </pc:spChg>
        <pc:spChg chg="del">
          <ac:chgData name="Damian Bąkowski" userId="148b5550-951f-4469-a424-8c0f930d3d0a" providerId="ADAL" clId="{E614DB47-AF1B-46C5-99F6-F4D12F28B057}" dt="2024-04-25T07:12:23.916" v="125" actId="478"/>
          <ac:spMkLst>
            <pc:docMk/>
            <pc:sldMk cId="3326941582" sldId="2147473450"/>
            <ac:spMk id="42" creationId="{62CC1EFD-D68E-177A-1274-45E43B9AFA2B}"/>
          </ac:spMkLst>
        </pc:spChg>
        <pc:picChg chg="add del mod">
          <ac:chgData name="Damian Bąkowski" userId="148b5550-951f-4469-a424-8c0f930d3d0a" providerId="ADAL" clId="{E614DB47-AF1B-46C5-99F6-F4D12F28B057}" dt="2024-04-25T07:12:46.005" v="136" actId="14100"/>
          <ac:picMkLst>
            <pc:docMk/>
            <pc:sldMk cId="3326941582" sldId="2147473450"/>
            <ac:picMk id="12" creationId="{20B419B7-16C7-0B12-B80F-87D6110D5ECF}"/>
          </ac:picMkLst>
        </pc:picChg>
        <pc:cxnChg chg="del">
          <ac:chgData name="Damian Bąkowski" userId="148b5550-951f-4469-a424-8c0f930d3d0a" providerId="ADAL" clId="{E614DB47-AF1B-46C5-99F6-F4D12F28B057}" dt="2024-04-25T07:12:37.300" v="131" actId="478"/>
          <ac:cxnSpMkLst>
            <pc:docMk/>
            <pc:sldMk cId="3326941582" sldId="2147473450"/>
            <ac:cxnSpMk id="20" creationId="{DDDC6E3D-CA74-510B-0482-77045192E8B8}"/>
          </ac:cxnSpMkLst>
        </pc:cxnChg>
        <pc:cxnChg chg="del">
          <ac:chgData name="Damian Bąkowski" userId="148b5550-951f-4469-a424-8c0f930d3d0a" providerId="ADAL" clId="{E614DB47-AF1B-46C5-99F6-F4D12F28B057}" dt="2024-04-25T07:12:37.300" v="131" actId="478"/>
          <ac:cxnSpMkLst>
            <pc:docMk/>
            <pc:sldMk cId="3326941582" sldId="2147473450"/>
            <ac:cxnSpMk id="21" creationId="{AA844573-F131-590D-80E4-EB0AD790D25D}"/>
          </ac:cxnSpMkLst>
        </pc:cxnChg>
        <pc:cxnChg chg="del">
          <ac:chgData name="Damian Bąkowski" userId="148b5550-951f-4469-a424-8c0f930d3d0a" providerId="ADAL" clId="{E614DB47-AF1B-46C5-99F6-F4D12F28B057}" dt="2024-04-25T07:12:37.300" v="131" actId="478"/>
          <ac:cxnSpMkLst>
            <pc:docMk/>
            <pc:sldMk cId="3326941582" sldId="2147473450"/>
            <ac:cxnSpMk id="28" creationId="{319BCABE-7315-9C53-FA50-8D2F9B5DC99F}"/>
          </ac:cxnSpMkLst>
        </pc:cxnChg>
        <pc:cxnChg chg="del">
          <ac:chgData name="Damian Bąkowski" userId="148b5550-951f-4469-a424-8c0f930d3d0a" providerId="ADAL" clId="{E614DB47-AF1B-46C5-99F6-F4D12F28B057}" dt="2024-04-25T07:12:37.300" v="131" actId="478"/>
          <ac:cxnSpMkLst>
            <pc:docMk/>
            <pc:sldMk cId="3326941582" sldId="2147473450"/>
            <ac:cxnSpMk id="31" creationId="{108ABF31-8C11-C6B3-7FCF-B9B9447373A2}"/>
          </ac:cxnSpMkLst>
        </pc:cxnChg>
        <pc:cxnChg chg="del">
          <ac:chgData name="Damian Bąkowski" userId="148b5550-951f-4469-a424-8c0f930d3d0a" providerId="ADAL" clId="{E614DB47-AF1B-46C5-99F6-F4D12F28B057}" dt="2024-04-25T07:12:37.300" v="131" actId="478"/>
          <ac:cxnSpMkLst>
            <pc:docMk/>
            <pc:sldMk cId="3326941582" sldId="2147473450"/>
            <ac:cxnSpMk id="34" creationId="{DF874ACB-B3FB-24DB-72DB-8AC7DDE7F3E3}"/>
          </ac:cxnSpMkLst>
        </pc:cxnChg>
        <pc:cxnChg chg="del">
          <ac:chgData name="Damian Bąkowski" userId="148b5550-951f-4469-a424-8c0f930d3d0a" providerId="ADAL" clId="{E614DB47-AF1B-46C5-99F6-F4D12F28B057}" dt="2024-04-25T07:12:37.300" v="131" actId="478"/>
          <ac:cxnSpMkLst>
            <pc:docMk/>
            <pc:sldMk cId="3326941582" sldId="2147473450"/>
            <ac:cxnSpMk id="36" creationId="{E93976C2-3923-1765-59C5-6960A8C62ABF}"/>
          </ac:cxnSpMkLst>
        </pc:cxnChg>
      </pc:sldChg>
      <pc:sldMasterChg chg="delSldLayout">
        <pc:chgData name="Damian Bąkowski" userId="148b5550-951f-4469-a424-8c0f930d3d0a" providerId="ADAL" clId="{E614DB47-AF1B-46C5-99F6-F4D12F28B057}" dt="2024-04-25T07:16:22.483" v="164" actId="47"/>
        <pc:sldMasterMkLst>
          <pc:docMk/>
          <pc:sldMasterMk cId="3376739024" sldId="2147483707"/>
        </pc:sldMasterMkLst>
        <pc:sldLayoutChg chg="del">
          <pc:chgData name="Damian Bąkowski" userId="148b5550-951f-4469-a424-8c0f930d3d0a" providerId="ADAL" clId="{E614DB47-AF1B-46C5-99F6-F4D12F28B057}" dt="2024-04-25T07:16:22.483" v="164" actId="47"/>
          <pc:sldLayoutMkLst>
            <pc:docMk/>
            <pc:sldMasterMk cId="3376739024" sldId="2147483707"/>
            <pc:sldLayoutMk cId="2377011943" sldId="2147483720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4E1124-64C4-43BB-93EE-0EA2A8F7C6A2}" type="datetimeFigureOut">
              <a:rPr lang="pl-PL" smtClean="0"/>
              <a:t>27.09.2024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A7A84F-AA2D-49A0-A10B-1B4D8D89A1A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46305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F5B51-7F4D-1A4A-9B73-B22C75CA48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ea typeface="+mn-ea"/>
                <a:cs typeface="+mn-cs"/>
              </a:rPr>
              <a:pPr marL="0" marR="0" lvl="0" indent="0" algn="r" defTabSz="7792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37556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4A6EBD-C22D-5B0B-9CFF-E8BD86F042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59BF519E-DC65-64C8-EBE0-422177C737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5630A354-5B94-F614-A293-23E79A997E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E168D114-7E85-AC26-7B3D-E9AE5F49B2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F5B51-7F4D-1A4A-9B73-B22C75CA48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ea typeface="+mn-ea"/>
                <a:cs typeface="+mn-cs"/>
              </a:rPr>
              <a:pPr marL="0" marR="0" lvl="0" indent="0" algn="r" defTabSz="7792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4651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w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w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w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0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image" Target="../media/image1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w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4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w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663549" y="384840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7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8488BC-F43D-4A4C-803E-D4B8C98A62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7" y="1919368"/>
            <a:ext cx="11123471" cy="405197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5CDE5F3-DA89-5449-A013-DB78FFDA1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4" y="6411537"/>
            <a:ext cx="1059269" cy="1861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8E9BC9-6B45-C249-9C40-EBAE5DF5FF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2" y="353500"/>
            <a:ext cx="1667140" cy="45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0540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_slide">
    <p:bg>
      <p:bgPr>
        <a:solidFill>
          <a:srgbClr val="8CA6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983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50">
          <p15:clr>
            <a:srgbClr val="FBAE40"/>
          </p15:clr>
        </p15:guide>
        <p15:guide id="2" pos="181">
          <p15:clr>
            <a:srgbClr val="FBAE40"/>
          </p15:clr>
        </p15:guide>
        <p15:guide id="3" pos="557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ake_slide">
    <p:bg>
      <p:bgPr>
        <a:solidFill>
          <a:srgbClr val="E1DD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rgbClr val="174E42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801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reak_slide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0483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reak_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221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2" y="353500"/>
            <a:ext cx="1667140" cy="45044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4" y="6411537"/>
            <a:ext cx="1059269" cy="186115"/>
          </a:xfrm>
          <a:prstGeom prst="rect">
            <a:avLst/>
          </a:prstGeom>
        </p:spPr>
      </p:pic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86469" y="4576236"/>
            <a:ext cx="10073216" cy="1656441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</a:t>
            </a:r>
            <a:br>
              <a:rPr lang="en-US"/>
            </a:br>
            <a:r>
              <a:rPr lang="en-US" err="1"/>
              <a:t>Fridtjof</a:t>
            </a:r>
            <a:r>
              <a:rPr lang="en-US"/>
              <a:t> </a:t>
            </a:r>
            <a:r>
              <a:rPr lang="en-US" err="1"/>
              <a:t>Nansens</a:t>
            </a:r>
            <a:r>
              <a:rPr lang="en-US"/>
              <a:t> </a:t>
            </a:r>
            <a:r>
              <a:rPr lang="en-US" err="1"/>
              <a:t>vei</a:t>
            </a:r>
            <a:r>
              <a:rPr lang="en-US"/>
              <a:t> 12</a:t>
            </a:r>
            <a:br>
              <a:rPr lang="en-US"/>
            </a:br>
            <a:r>
              <a:rPr lang="en-US"/>
              <a:t>0301 Oslo – Norway</a:t>
            </a:r>
            <a:br>
              <a:rPr lang="en-US"/>
            </a:br>
            <a:r>
              <a:rPr lang="en-US"/>
              <a:t>Tel: +47 22 59 59 00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7314" y="6418263"/>
            <a:ext cx="4927639" cy="17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5170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2" y="2995467"/>
            <a:ext cx="2408081" cy="65064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2" y="4084832"/>
            <a:ext cx="1069259" cy="1878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091CE24-8CBC-2247-A805-6306576F917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2183" y="6418263"/>
            <a:ext cx="4927639" cy="17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6407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3099265" y="6360656"/>
            <a:ext cx="5993479" cy="288000"/>
          </a:xfrm>
          <a:prstGeom prst="rect">
            <a:avLst/>
          </a:prstGeom>
        </p:spPr>
        <p:txBody>
          <a:bodyPr/>
          <a:lstStyle/>
          <a:p>
            <a:pPr algn="ctr" defTabSz="1038899"/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447800" y="6360656"/>
            <a:ext cx="574717" cy="288000"/>
          </a:xfrm>
          <a:prstGeom prst="rect">
            <a:avLst/>
          </a:prstGeom>
        </p:spPr>
        <p:txBody>
          <a:bodyPr/>
          <a:lstStyle/>
          <a:p>
            <a:fld id="{3E35ABA6-C3F5-4D43-9942-44A51C691B7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50998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7E1C3B5-8CE2-F35A-B275-71FCEE04B2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9697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7E1C3B5-8CE2-F35A-B275-71FCEE04B2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rostokąt 3">
            <a:extLst>
              <a:ext uri="{FF2B5EF4-FFF2-40B4-BE49-F238E27FC236}">
                <a16:creationId xmlns:a16="http://schemas.microsoft.com/office/drawing/2014/main" id="{61FC2BC5-8D51-7D49-B915-E95739D057BF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/>
          </a:p>
        </p:txBody>
      </p:sp>
      <p:sp>
        <p:nvSpPr>
          <p:cNvPr id="8" name="Tytuł 2">
            <a:extLst>
              <a:ext uri="{FF2B5EF4-FFF2-40B4-BE49-F238E27FC236}">
                <a16:creationId xmlns:a16="http://schemas.microsoft.com/office/drawing/2014/main" id="{57F41F40-3550-1243-AE88-817EFD71E0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5476353" cy="135996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rtl="0">
              <a:defRPr sz="3200" b="1" i="0">
                <a:solidFill>
                  <a:srgbClr val="AA8F7F"/>
                </a:solidFill>
                <a:latin typeface="Arial" panose="020B0604020202020204" pitchFamily="34" charset="0"/>
                <a:ea typeface="Post Grotesk" panose="02000000000000000000" pitchFamily="2" charset="0"/>
                <a:cs typeface="Arial" panose="020B0604020202020204" pitchFamily="34" charset="0"/>
              </a:defRPr>
            </a:lvl1pPr>
          </a:lstStyle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5A90CA2-07D7-8647-A89F-93C81C0A5C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949" y="1623327"/>
            <a:ext cx="4311249" cy="3704047"/>
          </a:xfrm>
          <a:prstGeom prst="rect">
            <a:avLst/>
          </a:prstGeom>
        </p:spPr>
        <p:txBody>
          <a:bodyPr/>
          <a:lstStyle>
            <a:lvl1pPr marL="0" indent="0" algn="l" rtl="0"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27352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B_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C5D22D-0FFB-4A9F-C444-7AB1D7CCBB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26511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C5D22D-0FFB-4A9F-C444-7AB1D7CCBB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en-US" smtClean="0"/>
              <a:pPr/>
              <a:t>9/27/2024</a:t>
            </a:fld>
            <a:endParaRPr lang="en-US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BB2A3744-44E6-A14D-8340-63CEA70F84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13" name="Tytuł 2">
            <a:extLst>
              <a:ext uri="{FF2B5EF4-FFF2-40B4-BE49-F238E27FC236}">
                <a16:creationId xmlns:a16="http://schemas.microsoft.com/office/drawing/2014/main" id="{3D6A2861-D9B4-C347-9FA4-97F2DF50A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rtl="0">
              <a:defRPr sz="4800" b="1" i="0">
                <a:solidFill>
                  <a:srgbClr val="174E42"/>
                </a:solidFill>
                <a:latin typeface="Arial" panose="020B0604020202020204" pitchFamily="34" charset="0"/>
                <a:ea typeface="Post Grotesk" panose="02000000000000000000" pitchFamily="2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104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8488BC-F43D-4A4C-803E-D4B8C98A62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6" y="1919368"/>
            <a:ext cx="11123471" cy="405197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5CDE5F3-DA89-5449-A013-DB78FFDA1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3" y="6411536"/>
            <a:ext cx="1059269" cy="1861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8E9BC9-6B45-C249-9C40-EBAE5DF5FF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1" y="353498"/>
            <a:ext cx="1667140" cy="45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0878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2" y="6334612"/>
            <a:ext cx="1069259" cy="35641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9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chemeClr val="bg1"/>
                </a:solidFill>
                <a:latin typeface="+mj-lt"/>
                <a:ea typeface="Arial Regular"/>
                <a:cs typeface="Arial Regular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6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EBFC33-3A68-D44C-8E2E-BF862C0FA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2" y="2293583"/>
            <a:ext cx="2408081" cy="650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432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6334611"/>
            <a:ext cx="1069259" cy="35641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chemeClr val="bg1"/>
                </a:solidFill>
                <a:latin typeface="+mj-lt"/>
                <a:ea typeface="Arial Regular"/>
                <a:cs typeface="Arial Regular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EBFC33-3A68-D44C-8E2E-BF862C0FA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1" y="2293582"/>
            <a:ext cx="2408081" cy="650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061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Flokk_logo_animation_trimmed.mp4">
            <a:hlinkClick r:id="" action="ppaction://media"/>
            <a:extLst>
              <a:ext uri="{FF2B5EF4-FFF2-40B4-BE49-F238E27FC236}">
                <a16:creationId xmlns:a16="http://schemas.microsoft.com/office/drawing/2014/main" id="{85A7770F-407F-D64C-A3A4-1371166C725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812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66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Flokk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0549" y="1833871"/>
            <a:ext cx="2523663" cy="6818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6334611"/>
            <a:ext cx="1069259" cy="356419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</p:spTree>
    <p:extLst>
      <p:ext uri="{BB962C8B-B14F-4D97-AF65-F5344CB8AC3E}">
        <p14:creationId xmlns:p14="http://schemas.microsoft.com/office/powerpoint/2010/main" val="22777931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27051" y="1115603"/>
            <a:ext cx="11137899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51B75A-E1DB-F349-B5FC-0B4B0A0A9C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508062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ub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527050" y="1124330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361627D-10E1-1D42-97B7-4969036D3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19A16AC8-2914-9346-9DFB-C035E5A80B6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1" y="1676979"/>
            <a:ext cx="11137899" cy="4632805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FCC3A3A-7030-1F47-8D71-21B962C01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992335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60C047-5A23-4F4C-9466-A1B9EAFF1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A0578615-C079-DE4E-B7E1-A15D82D3EC0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1" y="1115603"/>
            <a:ext cx="5504021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CD4A974-BD40-9646-8451-77C6147E352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61343" y="1115603"/>
            <a:ext cx="5504021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672CF83-D271-8E45-89EA-356AA2146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096496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FB2CD716-B83E-CF40-A54C-66892A74C20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0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84BD08E-CE59-5A46-8688-7421DF34ED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7050" y="1124330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9C57221-106C-2049-86DA-EE34F3CD0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D45DF562-6B8B-6D44-AEA2-3A7242CA03F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1341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5387F7DF-2FAC-854F-A033-9181D0A473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8342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27051" y="1115603"/>
            <a:ext cx="11137899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object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58D54269-6CAD-A948-9FD7-DD31354266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757793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_slide">
    <p:bg>
      <p:bgPr>
        <a:solidFill>
          <a:srgbClr val="8CA6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07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50">
          <p15:clr>
            <a:srgbClr val="FBAE40"/>
          </p15:clr>
        </p15:guide>
        <p15:guide id="2" pos="181">
          <p15:clr>
            <a:srgbClr val="FBAE40"/>
          </p15:clr>
        </p15:guide>
        <p15:guide id="3" pos="557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ake_slide">
    <p:bg>
      <p:bgPr>
        <a:solidFill>
          <a:srgbClr val="E1DD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rgbClr val="174E42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215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Flokk_logo_animation_trimmed.mp4">
            <a:hlinkClick r:id="" action="ppaction://media"/>
            <a:extLst>
              <a:ext uri="{FF2B5EF4-FFF2-40B4-BE49-F238E27FC236}">
                <a16:creationId xmlns:a16="http://schemas.microsoft.com/office/drawing/2014/main" id="{85A7770F-407F-D64C-A3A4-1371166C725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2660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66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reak_slide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330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reak_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065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1" y="353498"/>
            <a:ext cx="1667140" cy="45044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3" y="6411536"/>
            <a:ext cx="1059269" cy="186115"/>
          </a:xfrm>
          <a:prstGeom prst="rect">
            <a:avLst/>
          </a:prstGeom>
        </p:spPr>
      </p:pic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97284" y="4639298"/>
            <a:ext cx="10073216" cy="1656441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</a:t>
            </a:r>
            <a:br>
              <a:rPr lang="en-US"/>
            </a:br>
            <a:r>
              <a:rPr lang="en-US" err="1"/>
              <a:t>Fridtjof</a:t>
            </a:r>
            <a:r>
              <a:rPr lang="en-US"/>
              <a:t> </a:t>
            </a:r>
            <a:r>
              <a:rPr lang="en-US" err="1"/>
              <a:t>Nansens</a:t>
            </a:r>
            <a:r>
              <a:rPr lang="en-US"/>
              <a:t> </a:t>
            </a:r>
            <a:r>
              <a:rPr lang="en-US" err="1"/>
              <a:t>vei</a:t>
            </a:r>
            <a:r>
              <a:rPr lang="en-US"/>
              <a:t> 12</a:t>
            </a:r>
            <a:br>
              <a:rPr lang="en-US"/>
            </a:br>
            <a:r>
              <a:rPr lang="en-US"/>
              <a:t>0301 Oslo – Norway</a:t>
            </a:r>
            <a:br>
              <a:rPr lang="en-US"/>
            </a:br>
            <a:r>
              <a:rPr lang="en-US"/>
              <a:t>Tel: +47 22 59 59 00</a:t>
            </a: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F376364C-E58F-4446-BBA1-A83B92E1F86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81185" y="6437994"/>
            <a:ext cx="5747664" cy="159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0505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1" y="2995466"/>
            <a:ext cx="2408081" cy="65064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4084832"/>
            <a:ext cx="1069259" cy="187869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20CCA5B3-96DE-7842-BD2F-DA463AD618F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222168" y="6173410"/>
            <a:ext cx="5747664" cy="159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230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40920"/>
              </p:ext>
            </p:extLst>
          </p:nvPr>
        </p:nvGraphicFramePr>
        <p:xfrm>
          <a:off x="1958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64" progId="TCLayout.ActiveDocument.1">
                  <p:embed/>
                </p:oleObj>
              </mc:Choice>
              <mc:Fallback>
                <p:oleObj name="think-cell Slide" r:id="rId3" imgW="663" imgH="66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8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0400" y="1143003"/>
            <a:ext cx="10869085" cy="4933951"/>
          </a:xfrm>
          <a:prstGeom prst="rect">
            <a:avLst/>
          </a:prstGeom>
        </p:spPr>
        <p:txBody>
          <a:bodyPr/>
          <a:lstStyle>
            <a:lvl1pPr marL="182550" indent="-182550">
              <a:buClr>
                <a:srgbClr val="9D928B"/>
              </a:buClr>
              <a:buFont typeface="Wingdings" charset="2"/>
              <a:buChar char="§"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Bullet large</a:t>
            </a:r>
          </a:p>
          <a:p>
            <a:pPr lvl="1"/>
            <a:r>
              <a:rPr lang="en-US" noProof="0"/>
              <a:t>Small bullet</a:t>
            </a:r>
          </a:p>
          <a:p>
            <a:pPr lvl="2"/>
            <a:r>
              <a:rPr lang="en-US" noProof="0"/>
              <a:t>Indent small bulle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72756" y="0"/>
            <a:ext cx="908049" cy="248101"/>
          </a:xfrm>
          <a:prstGeom prst="rect">
            <a:avLst/>
          </a:prstGeom>
        </p:spPr>
        <p:txBody>
          <a:bodyPr/>
          <a:lstStyle/>
          <a:p>
            <a:pPr defTabSz="1038925"/>
            <a:fld id="{876E4242-7A02-D347-868C-7102E2A10D49}" type="datetime1">
              <a:rPr lang="en-US" smtClean="0">
                <a:solidFill>
                  <a:srgbClr val="222222"/>
                </a:solidFill>
              </a:rPr>
              <a:pPr defTabSz="1038925"/>
              <a:t>9/27/2024</a:t>
            </a:fld>
            <a:endParaRPr lang="en-US">
              <a:solidFill>
                <a:srgbClr val="222222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60400" y="445931"/>
            <a:ext cx="10869085" cy="62940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2200">
                <a:solidFill>
                  <a:srgbClr val="5B5451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5526291" y="6356354"/>
            <a:ext cx="1139428" cy="366183"/>
          </a:xfrm>
        </p:spPr>
        <p:txBody>
          <a:bodyPr/>
          <a:lstStyle/>
          <a:p>
            <a:pPr defTabSz="1038925"/>
            <a:fld id="{4C8A2398-00AD-E248-B160-42043925DF03}" type="slidenum">
              <a:rPr lang="sv-SE" smtClean="0"/>
              <a:pPr defTabSz="1038925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58381179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7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0" y="0"/>
            <a:ext cx="12192000" cy="6028267"/>
          </a:xfrm>
          <a:prstGeom prst="rect">
            <a:avLst/>
          </a:prstGeom>
          <a:solidFill>
            <a:srgbClr val="174E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9970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7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0" y="0"/>
            <a:ext cx="12192000" cy="60282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85862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7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23080" y="0"/>
            <a:ext cx="12192000" cy="6028267"/>
          </a:xfrm>
          <a:prstGeom prst="rect">
            <a:avLst/>
          </a:prstGeom>
          <a:solidFill>
            <a:srgbClr val="8CA6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1835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7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23080" y="0"/>
            <a:ext cx="12192000" cy="6028267"/>
          </a:xfrm>
          <a:prstGeom prst="rect">
            <a:avLst/>
          </a:prstGeom>
          <a:solidFill>
            <a:srgbClr val="CBB6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3040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7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5194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Flokk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0550" y="1833872"/>
            <a:ext cx="2523663" cy="6818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2" y="6334612"/>
            <a:ext cx="1069259" cy="356419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9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6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</p:spTree>
    <p:extLst>
      <p:ext uri="{BB962C8B-B14F-4D97-AF65-F5344CB8AC3E}">
        <p14:creationId xmlns:p14="http://schemas.microsoft.com/office/powerpoint/2010/main" val="3640499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rgbClr val="174E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7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0113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7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3973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7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5491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rgbClr val="CBB6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7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9482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7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8" name="Tytuł 2">
            <a:extLst>
              <a:ext uri="{FF2B5EF4-FFF2-40B4-BE49-F238E27FC236}">
                <a16:creationId xmlns:a16="http://schemas.microsoft.com/office/drawing/2014/main" id="{919B8AAE-4C3A-D14C-82A3-C0992EDD6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From capital goods to consumer goods 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8406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Brake_slide">
    <p:bg>
      <p:bgPr>
        <a:solidFill>
          <a:srgbClr val="E1DD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A2A4CF4D-CA1F-7638-2C60-8B2355EC8E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6D697C5-548A-C779-6F75-2489F7B020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60400" y="1123954"/>
            <a:ext cx="10869085" cy="4933951"/>
          </a:xfrm>
          <a:prstGeom prst="rect">
            <a:avLst/>
          </a:prstGeom>
        </p:spPr>
        <p:txBody>
          <a:bodyPr/>
          <a:lstStyle>
            <a:lvl1pPr marL="182550" indent="-182550">
              <a:buClr>
                <a:srgbClr val="9D928B"/>
              </a:buClr>
              <a:buFont typeface="Wingdings" charset="2"/>
              <a:buChar char="§"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Bullet large</a:t>
            </a:r>
          </a:p>
          <a:p>
            <a:pPr lvl="1"/>
            <a:r>
              <a:rPr lang="en-US" noProof="0"/>
              <a:t>Small bullet</a:t>
            </a:r>
          </a:p>
          <a:p>
            <a:pPr lvl="2"/>
            <a:r>
              <a:rPr lang="en-US" noProof="0"/>
              <a:t>Indent small bulle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EBB779B-E244-C703-1380-0A5F131EF0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426882"/>
            <a:ext cx="10869085" cy="62940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2200">
                <a:solidFill>
                  <a:srgbClr val="5B5451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104819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ic_deep green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8488BC-F43D-4A4C-803E-D4B8C98A62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6" y="1919368"/>
            <a:ext cx="11123471" cy="405197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5CDE5F3-DA89-5449-A013-DB78FFDA1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3" y="6411536"/>
            <a:ext cx="1059269" cy="1861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8E9BC9-6B45-C249-9C40-EBAE5DF5FF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1" y="353498"/>
            <a:ext cx="1667140" cy="45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980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Q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az 12">
            <a:extLst>
              <a:ext uri="{FF2B5EF4-FFF2-40B4-BE49-F238E27FC236}">
                <a16:creationId xmlns:a16="http://schemas.microsoft.com/office/drawing/2014/main" id="{F425BBE3-70E8-AB40-B5EC-B026E482CB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55165"/>
            <a:ext cx="12192000" cy="6913165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DBCBEFE-0510-BA4F-B36F-09EEDF4FBF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B224E1-0ECB-DC4E-AE2E-0BC2D50113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6DAD35A4-99E4-C943-99F5-5F4DEC04F3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5" y="384838"/>
            <a:ext cx="1674355" cy="54879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1935034-B74B-BD4A-B9B0-C4D91CB693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266" y="6298955"/>
            <a:ext cx="1379748" cy="39173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 baseline="0">
                <a:solidFill>
                  <a:srgbClr val="174E42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.co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3011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>
            <a:extLst>
              <a:ext uri="{FF2B5EF4-FFF2-40B4-BE49-F238E27FC236}">
                <a16:creationId xmlns:a16="http://schemas.microsoft.com/office/drawing/2014/main" id="{0BFB351C-3850-5346-A6D6-930A9CDCBC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3000" y="0"/>
            <a:ext cx="12220687" cy="6858000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DBCBEFE-0510-BA4F-B36F-09EEDF4FBF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B224E1-0ECB-DC4E-AE2E-0BC2D50113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6DAD35A4-99E4-C943-99F5-5F4DEC04F3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5" y="384838"/>
            <a:ext cx="1674355" cy="54879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1935034-B74B-BD4A-B9B0-C4D91CB693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266" y="6298955"/>
            <a:ext cx="1379748" cy="39173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 baseline="0">
                <a:solidFill>
                  <a:srgbClr val="174E42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.co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1063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duc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>
            <a:extLst>
              <a:ext uri="{FF2B5EF4-FFF2-40B4-BE49-F238E27FC236}">
                <a16:creationId xmlns:a16="http://schemas.microsoft.com/office/drawing/2014/main" id="{53147D59-7C3C-E44E-9A27-3BB2F91037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DBCBEFE-0510-BA4F-B36F-09EEDF4FBF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B224E1-0ECB-DC4E-AE2E-0BC2D50113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6DAD35A4-99E4-C943-99F5-5F4DEC04F3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5" y="384838"/>
            <a:ext cx="1674355" cy="54879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1935034-B74B-BD4A-B9B0-C4D91CB693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266" y="6298955"/>
            <a:ext cx="1379748" cy="39173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 baseline="0">
                <a:solidFill>
                  <a:srgbClr val="174E42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.co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9156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27052" y="1115604"/>
            <a:ext cx="11137899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51B75A-E1DB-F349-B5FC-0B4B0A0A9C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937843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roduc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>
            <a:extLst>
              <a:ext uri="{FF2B5EF4-FFF2-40B4-BE49-F238E27FC236}">
                <a16:creationId xmlns:a16="http://schemas.microsoft.com/office/drawing/2014/main" id="{D97CCE72-7A24-9940-AC51-E3BD751A62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DBCBEFE-0510-BA4F-B36F-09EEDF4FBF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B224E1-0ECB-DC4E-AE2E-0BC2D50113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6DAD35A4-99E4-C943-99F5-5F4DEC04F3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5" y="384838"/>
            <a:ext cx="1674355" cy="54879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1935034-B74B-BD4A-B9B0-C4D91CB693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266" y="6298955"/>
            <a:ext cx="1379748" cy="39173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 baseline="0">
                <a:solidFill>
                  <a:srgbClr val="174E42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.co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03803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duc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>
            <a:extLst>
              <a:ext uri="{FF2B5EF4-FFF2-40B4-BE49-F238E27FC236}">
                <a16:creationId xmlns:a16="http://schemas.microsoft.com/office/drawing/2014/main" id="{7C3B0526-C831-D349-9F79-F75195D2A8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DBCBEFE-0510-BA4F-B36F-09EEDF4FBF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B224E1-0ECB-DC4E-AE2E-0BC2D50113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6DAD35A4-99E4-C943-99F5-5F4DEC04F3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5" y="384838"/>
            <a:ext cx="1674355" cy="54879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1935034-B74B-BD4A-B9B0-C4D91CB693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266" y="6298955"/>
            <a:ext cx="1379748" cy="39173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 baseline="0">
                <a:solidFill>
                  <a:srgbClr val="174E42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.co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544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duc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az 12">
            <a:extLst>
              <a:ext uri="{FF2B5EF4-FFF2-40B4-BE49-F238E27FC236}">
                <a16:creationId xmlns:a16="http://schemas.microsoft.com/office/drawing/2014/main" id="{A0B5347D-3F33-E646-A7F8-32A7B6C52D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DBCBEFE-0510-BA4F-B36F-09EEDF4FBF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B224E1-0ECB-DC4E-AE2E-0BC2D50113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6DAD35A4-99E4-C943-99F5-5F4DEC04F3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5" y="384838"/>
            <a:ext cx="1674355" cy="54879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1935034-B74B-BD4A-B9B0-C4D91CB693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266" y="6298955"/>
            <a:ext cx="1379748" cy="39173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 baseline="0">
                <a:solidFill>
                  <a:srgbClr val="174E42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.co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5160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roduc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>
            <a:extLst>
              <a:ext uri="{FF2B5EF4-FFF2-40B4-BE49-F238E27FC236}">
                <a16:creationId xmlns:a16="http://schemas.microsoft.com/office/drawing/2014/main" id="{2AFD85A0-A976-3243-B403-41F1546E56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DBCBEFE-0510-BA4F-B36F-09EEDF4FBF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B224E1-0ECB-DC4E-AE2E-0BC2D50113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6DAD35A4-99E4-C943-99F5-5F4DEC04F3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5" y="384838"/>
            <a:ext cx="1674355" cy="548796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1935034-B74B-BD4A-B9B0-C4D91CB693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4266" y="6298955"/>
            <a:ext cx="1379748" cy="39173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 baseline="0">
                <a:solidFill>
                  <a:srgbClr val="174E42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.co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3473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6334611"/>
            <a:ext cx="1069259" cy="35641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EBFC33-3A68-D44C-8E2E-BF862C0FA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1" y="2293582"/>
            <a:ext cx="2408081" cy="650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790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Flokk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6334611"/>
            <a:ext cx="1069259" cy="356419"/>
          </a:xfrm>
          <a:prstGeom prst="rect">
            <a:avLst/>
          </a:prstGeom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170B531B-826F-D747-A425-AC32AE39C1D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1" y="2293582"/>
            <a:ext cx="2408081" cy="650645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40F5E71-6A3D-1045-BF9E-184F46DE14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40FD0CD-988E-7B4E-935B-238AF71D61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</p:spTree>
    <p:extLst>
      <p:ext uri="{BB962C8B-B14F-4D97-AF65-F5344CB8AC3E}">
        <p14:creationId xmlns:p14="http://schemas.microsoft.com/office/powerpoint/2010/main" val="32193826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Flokk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B870A0BC-82F3-3742-A519-757093B672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8CA6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9B806D15-780D-494D-9CE5-FDDF3F4F1F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6334611"/>
            <a:ext cx="1069259" cy="356419"/>
          </a:xfrm>
          <a:prstGeom prst="rect">
            <a:avLst/>
          </a:prstGeom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DEF2E87E-38A6-8847-844D-DBD609F3CE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1" y="2293582"/>
            <a:ext cx="2408081" cy="650645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2E0C701-E789-FB4D-98D3-F72B504250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75FD2A2-0503-F04B-B43A-A6DF5DC126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</p:spTree>
    <p:extLst>
      <p:ext uri="{BB962C8B-B14F-4D97-AF65-F5344CB8AC3E}">
        <p14:creationId xmlns:p14="http://schemas.microsoft.com/office/powerpoint/2010/main" val="36140365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Flokk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B870A0BC-82F3-3742-A519-757093B672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1DD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40F5E71-6A3D-1045-BF9E-184F46DE14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rgbClr val="174E4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40FD0CD-988E-7B4E-935B-238AF71D61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rgbClr val="174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AE0C031E-6E93-0641-B7FF-AA2B7397A1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8842" y="2064254"/>
            <a:ext cx="3015423" cy="1014535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A702B468-129E-EE42-A5BC-EC9C8AA2C2A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16038" y="6413435"/>
            <a:ext cx="941029" cy="172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731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4A_pale tau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7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0" y="0"/>
            <a:ext cx="12192000" cy="6028267"/>
          </a:xfrm>
          <a:prstGeom prst="rect">
            <a:avLst/>
          </a:prstGeom>
          <a:solidFill>
            <a:srgbClr val="CBB6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FAF109F9-DDF4-8F47-BCB1-6C6C7C7024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10" name="Tytuł 2">
            <a:extLst>
              <a:ext uri="{FF2B5EF4-FFF2-40B4-BE49-F238E27FC236}">
                <a16:creationId xmlns:a16="http://schemas.microsoft.com/office/drawing/2014/main" id="{B069D9A5-9F21-8348-9664-F1C9F0A7BC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11358573" cy="135996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3200" b="1" i="0">
                <a:solidFill>
                  <a:schemeClr val="bg1"/>
                </a:solidFill>
                <a:latin typeface="Arial" panose="020B0604020202020204" pitchFamily="34" charset="0"/>
                <a:ea typeface="Post Grotesk" panose="02000000000000000000" pitchFamily="2" charset="0"/>
                <a:cs typeface="Arial" panose="020B0604020202020204" pitchFamily="34" charset="0"/>
              </a:defRPr>
            </a:lvl1pPr>
          </a:lstStyle>
          <a:p>
            <a:endParaRPr lang="pl-PL">
              <a:solidFill>
                <a:schemeClr val="bg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E6D135D-7445-F341-8348-B2E5CA01F6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949" y="1623327"/>
            <a:ext cx="4311249" cy="370404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9156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7.09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2984" y="0"/>
            <a:ext cx="12192000" cy="6028267"/>
          </a:xfrm>
          <a:prstGeom prst="rect">
            <a:avLst/>
          </a:prstGeom>
          <a:solidFill>
            <a:srgbClr val="CBB6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5333" b="1" i="0">
                <a:solidFill>
                  <a:schemeClr val="tx1"/>
                </a:solidFill>
                <a:latin typeface="+mn-lt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15401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ub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527051" y="1124332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361627D-10E1-1D42-97B7-4969036D3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19A16AC8-2914-9346-9DFB-C035E5A80B6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2" y="1676980"/>
            <a:ext cx="11137899" cy="4632805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FCC3A3A-7030-1F47-8D71-21B962C01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71679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60C047-5A23-4F4C-9466-A1B9EAFF1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A0578615-C079-DE4E-B7E1-A15D82D3EC0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2" y="1115604"/>
            <a:ext cx="5504021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CD4A974-BD40-9646-8451-77C6147E352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61344" y="1115604"/>
            <a:ext cx="5504021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672CF83-D271-8E45-89EA-356AA2146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81638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FB2CD716-B83E-CF40-A54C-66892A74C20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1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84BD08E-CE59-5A46-8688-7421DF34ED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7051" y="1124332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9C57221-106C-2049-86DA-EE34F3CD0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D45DF562-6B8B-6D44-AEA2-3A7242CA03F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1342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5387F7DF-2FAC-854F-A033-9181D0A473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105519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27052" y="1115604"/>
            <a:ext cx="11137899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object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58D54269-6CAD-A948-9FD7-DD31354266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50078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tags" Target="../tags/tag5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image" Target="../media/image12.emf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454684046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8" imgH="347" progId="TCLayout.ActiveDocument.1">
                  <p:embed/>
                </p:oleObj>
              </mc:Choice>
              <mc:Fallback>
                <p:oleObj name="think-cell Slide" r:id="rId21" imgW="348" imgH="34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8DCAE6-A66C-3A45-8A87-FA2123C5C8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94263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hdr="0" ftr="0" dt="0"/>
  <p:txStyles>
    <p:titleStyle>
      <a:lvl1pPr algn="l" defTabSz="914354" rtl="0" eaLnBrk="1" latinLnBrk="0" hangingPunct="1">
        <a:spcBef>
          <a:spcPct val="0"/>
        </a:spcBef>
        <a:buNone/>
        <a:defRPr sz="2400" b="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268275" indent="-268275" algn="l" defTabSz="914354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68275" indent="-268275" algn="l" defTabSz="914354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511">
          <p15:clr>
            <a:srgbClr val="F26B43"/>
          </p15:clr>
        </p15:guide>
        <p15:guide id="5" pos="249">
          <p15:clr>
            <a:srgbClr val="F26B43"/>
          </p15:clr>
        </p15:guide>
        <p15:guide id="6" pos="340">
          <p15:clr>
            <a:srgbClr val="F26B43"/>
          </p15:clr>
        </p15:guide>
        <p15:guide id="7" pos="5352">
          <p15:clr>
            <a:srgbClr val="F26B43"/>
          </p15:clr>
        </p15:guide>
        <p15:guide id="8" orient="horz" pos="373">
          <p15:clr>
            <a:srgbClr val="F26B43"/>
          </p15:clr>
        </p15:guide>
        <p15:guide id="9" orient="horz" pos="2981">
          <p15:clr>
            <a:srgbClr val="F26B43"/>
          </p15:clr>
        </p15:guide>
        <p15:guide id="10" orient="horz" pos="3173">
          <p15:clr>
            <a:srgbClr val="F26B43"/>
          </p15:clr>
        </p15:guide>
        <p15:guide id="11" orient="horz" pos="311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47811989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622" imgH="623" progId="TCLayout.ActiveDocument.1">
                  <p:embed/>
                </p:oleObj>
              </mc:Choice>
              <mc:Fallback>
                <p:oleObj name="think-cell Slide" r:id="rId30" imgW="622" imgH="6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8DCAE6-A66C-3A45-8A87-FA2123C5C8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0957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  <p:sldLayoutId id="2147483702" r:id="rId23"/>
    <p:sldLayoutId id="2147483703" r:id="rId24"/>
    <p:sldLayoutId id="2147483704" r:id="rId25"/>
    <p:sldLayoutId id="2147483705" r:id="rId26"/>
    <p:sldLayoutId id="2147483706" r:id="rId27"/>
  </p:sldLayoutIdLst>
  <p:hf hdr="0" ftr="0" dt="0"/>
  <p:txStyles>
    <p:titleStyle>
      <a:lvl1pPr algn="l" defTabSz="914377" rtl="0" eaLnBrk="1" latinLnBrk="0" hangingPunct="1">
        <a:spcBef>
          <a:spcPct val="0"/>
        </a:spcBef>
        <a:buNone/>
        <a:defRPr sz="2400" b="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268281" indent="-268281" algn="l" defTabSz="914377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68281" indent="-268281" algn="l" defTabSz="914377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511">
          <p15:clr>
            <a:srgbClr val="F26B43"/>
          </p15:clr>
        </p15:guide>
        <p15:guide id="5" pos="249">
          <p15:clr>
            <a:srgbClr val="F26B43"/>
          </p15:clr>
        </p15:guide>
        <p15:guide id="6" pos="340">
          <p15:clr>
            <a:srgbClr val="F26B43"/>
          </p15:clr>
        </p15:guide>
        <p15:guide id="7" pos="5352">
          <p15:clr>
            <a:srgbClr val="F26B43"/>
          </p15:clr>
        </p15:guide>
        <p15:guide id="8" orient="horz" pos="373">
          <p15:clr>
            <a:srgbClr val="F26B43"/>
          </p15:clr>
        </p15:guide>
        <p15:guide id="9" orient="horz" pos="2981">
          <p15:clr>
            <a:srgbClr val="F26B43"/>
          </p15:clr>
        </p15:guide>
        <p15:guide id="10" orient="horz" pos="3173">
          <p15:clr>
            <a:srgbClr val="F26B43"/>
          </p15:clr>
        </p15:guide>
        <p15:guide id="11" orient="horz" pos="311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6739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1" r:id="rId13"/>
    <p:sldLayoutId id="2147483722" r:id="rId14"/>
  </p:sldLayoutIdLst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Obraz 14">
            <a:extLst>
              <a:ext uri="{FF2B5EF4-FFF2-40B4-BE49-F238E27FC236}">
                <a16:creationId xmlns:a16="http://schemas.microsoft.com/office/drawing/2014/main" id="{81F7F593-03D3-3548-1887-75B3AA0279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2083" y="0"/>
            <a:ext cx="7019918" cy="6027877"/>
          </a:xfrm>
          <a:prstGeom prst="rect">
            <a:avLst/>
          </a:prstGeom>
        </p:spPr>
      </p:pic>
      <p:sp>
        <p:nvSpPr>
          <p:cNvPr id="5" name="Tytuł 3">
            <a:extLst>
              <a:ext uri="{FF2B5EF4-FFF2-40B4-BE49-F238E27FC236}">
                <a16:creationId xmlns:a16="http://schemas.microsoft.com/office/drawing/2014/main" id="{FDAAE502-6082-D14C-9D31-2E3F4BA95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115655"/>
            <a:ext cx="6167025" cy="1678876"/>
          </a:xfrm>
        </p:spPr>
        <p:txBody>
          <a:bodyPr lIns="121920" tIns="60960" rIns="121920" bIns="60960" anchor="t"/>
          <a:lstStyle/>
          <a:p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Jak pozbyć się produktu </a:t>
            </a:r>
            <a:b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</a:br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- </a:t>
            </a:r>
            <a:r>
              <a:rPr lang="pl-PL" sz="2800">
                <a:solidFill>
                  <a:srgbClr val="FFFFFF"/>
                </a:solidFill>
                <a:latin typeface="+mj-lt"/>
                <a:cs typeface="Arial"/>
              </a:rPr>
              <a:t>Profim Snap</a:t>
            </a:r>
            <a:endParaRPr lang="pl-PL" sz="2800" dirty="0">
              <a:latin typeface="Arial"/>
            </a:endParaRP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9D4C8798-A194-EC28-2BEF-DF04FE07C2E4}"/>
              </a:ext>
            </a:extLst>
          </p:cNvPr>
          <p:cNvSpPr txBox="1"/>
          <p:nvPr/>
        </p:nvSpPr>
        <p:spPr>
          <a:xfrm>
            <a:off x="388153" y="1455814"/>
            <a:ext cx="4585903" cy="365747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i="1">
                <a:solidFill>
                  <a:schemeClr val="bg1"/>
                </a:solidFill>
              </a:rPr>
              <a:t>Uwaga</a:t>
            </a:r>
            <a:r>
              <a:rPr lang="en-US" i="1">
                <a:solidFill>
                  <a:schemeClr val="bg1"/>
                </a:solidFill>
              </a:rPr>
              <a:t>: T</a:t>
            </a:r>
            <a:r>
              <a:rPr lang="pl-PL" i="1">
                <a:solidFill>
                  <a:schemeClr val="bg1"/>
                </a:solidFill>
              </a:rPr>
              <a:t>en produkt został zaprojektowany z myślą o łatwym demontażu!</a:t>
            </a: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i="1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i="1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sz="1867">
              <a:solidFill>
                <a:srgbClr val="FFFFFF"/>
              </a:solidFill>
              <a:latin typeface="Arial" panose="020B0604020202020204"/>
              <a:ea typeface="Post Grotesk Book" panose="02000000000000000000" pitchFamily="2" charset="0"/>
            </a:endParaRPr>
          </a:p>
          <a:p>
            <a:pPr marL="342900" indent="-342900" defTabSz="1038977">
              <a:buAutoNum type="arabicPeriod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b="1" u="sng">
                <a:solidFill>
                  <a:schemeClr val="bg1"/>
                </a:solidFill>
              </a:rPr>
              <a:t>Oceń stan mebla</a:t>
            </a:r>
            <a:r>
              <a:rPr lang="pl-PL" b="1">
                <a:solidFill>
                  <a:schemeClr val="bg1"/>
                </a:solidFill>
              </a:rPr>
              <a:t>.</a:t>
            </a:r>
          </a:p>
          <a:p>
            <a:pPr marL="360000" defTabSz="1038977">
              <a:spcBef>
                <a:spcPts val="600"/>
              </a:spcBef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sz="1400" i="1">
                <a:solidFill>
                  <a:schemeClr val="bg1"/>
                </a:solidFill>
              </a:rPr>
              <a:t>Flokk </a:t>
            </a:r>
            <a:r>
              <a:rPr lang="pl-PL" sz="1400" i="1">
                <a:solidFill>
                  <a:schemeClr val="bg1"/>
                </a:solidFill>
              </a:rPr>
              <a:t>dostarcza części zamienne umożliwiające łatwą wymianę zużytych podzespołów.</a:t>
            </a:r>
            <a:endParaRPr lang="pl-PL" sz="1400" b="1">
              <a:solidFill>
                <a:schemeClr val="bg1"/>
              </a:solidFill>
            </a:endParaRPr>
          </a:p>
          <a:p>
            <a:pPr marL="342900" indent="-342900" defTabSz="1038977">
              <a:buAutoNum type="arabicPeriod"/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b="1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b="1">
              <a:solidFill>
                <a:schemeClr val="bg1"/>
              </a:solidFill>
            </a:endParaRPr>
          </a:p>
          <a:p>
            <a:pPr marL="342900" indent="-342900" defTabSz="1038977">
              <a:buFont typeface="+mj-lt"/>
              <a:buAutoNum type="arabicPeriod" startAt="2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b="1" u="sng">
                <a:solidFill>
                  <a:schemeClr val="bg1"/>
                </a:solidFill>
              </a:rPr>
              <a:t>Rozważ darowiznę lub sprzedaż, </a:t>
            </a:r>
            <a:br>
              <a:rPr lang="pl-PL" b="1" u="sng">
                <a:solidFill>
                  <a:schemeClr val="bg1"/>
                </a:solidFill>
              </a:rPr>
            </a:br>
            <a:r>
              <a:rPr lang="pl-PL" b="1" u="sng">
                <a:solidFill>
                  <a:schemeClr val="bg1"/>
                </a:solidFill>
              </a:rPr>
              <a:t>jeśli jest w dobrym stanie</a:t>
            </a:r>
            <a:r>
              <a:rPr lang="en-US" b="1" u="sng">
                <a:solidFill>
                  <a:schemeClr val="bg1"/>
                </a:solidFill>
              </a:rPr>
              <a:t>.</a:t>
            </a:r>
            <a:endParaRPr lang="pl-PL" b="1" u="sng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b="1">
                <a:solidFill>
                  <a:schemeClr val="bg1"/>
                </a:solidFill>
              </a:rPr>
              <a:t>     </a:t>
            </a:r>
            <a:endParaRPr lang="pl-PL" sz="1400" i="1">
              <a:solidFill>
                <a:schemeClr val="bg1"/>
              </a:solidFill>
            </a:endParaRPr>
          </a:p>
        </p:txBody>
      </p:sp>
      <p:cxnSp>
        <p:nvCxnSpPr>
          <p:cNvPr id="17" name="Łącznik prosty 16">
            <a:extLst>
              <a:ext uri="{FF2B5EF4-FFF2-40B4-BE49-F238E27FC236}">
                <a16:creationId xmlns:a16="http://schemas.microsoft.com/office/drawing/2014/main" id="{4F185139-0168-12D4-516B-9B79AD6A4FFC}"/>
              </a:ext>
            </a:extLst>
          </p:cNvPr>
          <p:cNvCxnSpPr/>
          <p:nvPr/>
        </p:nvCxnSpPr>
        <p:spPr>
          <a:xfrm>
            <a:off x="5148072" y="6016752"/>
            <a:ext cx="70439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32311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BB61FD-48F3-90EC-1681-C9C4A716BA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675D6522-5B5D-BF60-6377-A5BCEA6899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1121" y="-1"/>
            <a:ext cx="7040880" cy="6028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ytuł 3">
            <a:extLst>
              <a:ext uri="{FF2B5EF4-FFF2-40B4-BE49-F238E27FC236}">
                <a16:creationId xmlns:a16="http://schemas.microsoft.com/office/drawing/2014/main" id="{8F375C25-1736-50F9-E6AE-8DE8407244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115655"/>
            <a:ext cx="6167025" cy="1678876"/>
          </a:xfrm>
        </p:spPr>
        <p:txBody>
          <a:bodyPr lIns="121920" tIns="60960" rIns="121920" bIns="60960" anchor="t"/>
          <a:lstStyle/>
          <a:p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Jak pozbyć się produktu </a:t>
            </a:r>
            <a:b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</a:br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- Profim Snap</a:t>
            </a:r>
            <a:endParaRPr lang="pl-PL" sz="2800" dirty="0">
              <a:latin typeface="Arial"/>
            </a:endParaRPr>
          </a:p>
        </p:txBody>
      </p:sp>
      <p:sp>
        <p:nvSpPr>
          <p:cNvPr id="19" name="TextBox 11">
            <a:extLst>
              <a:ext uri="{FF2B5EF4-FFF2-40B4-BE49-F238E27FC236}">
                <a16:creationId xmlns:a16="http://schemas.microsoft.com/office/drawing/2014/main" id="{AA7A91DF-7A9D-6F92-E4DC-94C582E97BA2}"/>
              </a:ext>
            </a:extLst>
          </p:cNvPr>
          <p:cNvSpPr txBox="1"/>
          <p:nvPr/>
        </p:nvSpPr>
        <p:spPr>
          <a:xfrm>
            <a:off x="388153" y="1455814"/>
            <a:ext cx="4585903" cy="453463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i="1">
                <a:solidFill>
                  <a:schemeClr val="bg1"/>
                </a:solidFill>
              </a:rPr>
              <a:t>Uwaga</a:t>
            </a:r>
            <a:r>
              <a:rPr lang="en-US" i="1">
                <a:solidFill>
                  <a:schemeClr val="bg1"/>
                </a:solidFill>
              </a:rPr>
              <a:t>: T</a:t>
            </a:r>
            <a:r>
              <a:rPr lang="pl-PL" i="1">
                <a:solidFill>
                  <a:schemeClr val="bg1"/>
                </a:solidFill>
              </a:rPr>
              <a:t>en produkt został zaprojektowany z myślą o łatwym demontażu!</a:t>
            </a: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i="1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sz="1867">
              <a:solidFill>
                <a:srgbClr val="FFFFFF"/>
              </a:solidFill>
              <a:latin typeface="Arial" panose="020B0604020202020204"/>
              <a:ea typeface="Post Grotesk Book" panose="02000000000000000000" pitchFamily="2" charset="0"/>
            </a:endParaRPr>
          </a:p>
          <a:p>
            <a:pPr marL="342900" indent="-342900" defTabSz="1038977">
              <a:buFont typeface="+mj-lt"/>
              <a:buAutoNum type="arabicPeriod" startAt="3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b="1" u="sng">
                <a:solidFill>
                  <a:schemeClr val="bg1"/>
                </a:solidFill>
              </a:rPr>
              <a:t>RECY</a:t>
            </a:r>
            <a:r>
              <a:rPr lang="pl-PL" b="1" u="sng">
                <a:solidFill>
                  <a:schemeClr val="bg1"/>
                </a:solidFill>
              </a:rPr>
              <a:t>K</a:t>
            </a:r>
            <a:r>
              <a:rPr lang="en-US" b="1" u="sng">
                <a:solidFill>
                  <a:schemeClr val="bg1"/>
                </a:solidFill>
              </a:rPr>
              <a:t>LING – </a:t>
            </a:r>
            <a:r>
              <a:rPr lang="pl-PL" b="1" u="sng">
                <a:solidFill>
                  <a:schemeClr val="bg1"/>
                </a:solidFill>
              </a:rPr>
              <a:t>rozłóż produkt na osobne materiały.</a:t>
            </a:r>
          </a:p>
          <a:p>
            <a:pPr marL="360000" defTabSz="1038977">
              <a:spcBef>
                <a:spcPts val="600"/>
              </a:spcBef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sz="1400" i="1">
                <a:solidFill>
                  <a:schemeClr val="bg1"/>
                </a:solidFill>
              </a:rPr>
              <a:t>Recykling jest najlepsza opcja dla tego produktu, łatwość w odseparowaniu różnych materiałów od siebie pozwala łatwo je segregować.</a:t>
            </a:r>
            <a:endParaRPr lang="pl-PL" sz="1400" b="1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b="1">
              <a:solidFill>
                <a:schemeClr val="bg1"/>
              </a:solidFill>
            </a:endParaRPr>
          </a:p>
          <a:p>
            <a:pPr marL="342900" indent="-342900" defTabSz="1038977">
              <a:buFont typeface="+mj-lt"/>
              <a:buAutoNum type="arabicPeriod" startAt="4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b="1" u="sng">
                <a:solidFill>
                  <a:schemeClr val="bg1"/>
                </a:solidFill>
              </a:rPr>
              <a:t>Oddaj </a:t>
            </a:r>
            <a:r>
              <a:rPr lang="en-US" b="1" u="sng">
                <a:solidFill>
                  <a:schemeClr val="bg1"/>
                </a:solidFill>
              </a:rPr>
              <a:t>/ </a:t>
            </a:r>
            <a:r>
              <a:rPr lang="pl-PL" b="1" u="sng">
                <a:solidFill>
                  <a:schemeClr val="bg1"/>
                </a:solidFill>
              </a:rPr>
              <a:t>skontaktuj się z lokalnym zakładem zajmującym się gospodarką odpadami.</a:t>
            </a:r>
          </a:p>
          <a:p>
            <a:pPr marL="360000" defTabSz="1038977">
              <a:spcBef>
                <a:spcPts val="600"/>
              </a:spcBef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sz="1400" i="1">
                <a:solidFill>
                  <a:schemeClr val="bg1"/>
                </a:solidFill>
              </a:rPr>
              <a:t>W przypadku uszkodzenia produktu lub braku możliwości jego demontażu należy skontaktować się z lokalnym przedsiębiorstwem zajmującym się gospodarka odpadami.</a:t>
            </a:r>
            <a:endParaRPr lang="pl-PL" sz="1400" b="1" u="sng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9206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8_Flokk">
  <a:themeElements>
    <a:clrScheme name="Flokk">
      <a:dk1>
        <a:srgbClr val="222222"/>
      </a:dk1>
      <a:lt1>
        <a:srgbClr val="FFFFFF"/>
      </a:lt1>
      <a:dk2>
        <a:srgbClr val="164E41"/>
      </a:dk2>
      <a:lt2>
        <a:srgbClr val="E0DCD9"/>
      </a:lt2>
      <a:accent1>
        <a:srgbClr val="9CB4AF"/>
      </a:accent1>
      <a:accent2>
        <a:srgbClr val="D5C2B5"/>
      </a:accent2>
      <a:accent3>
        <a:srgbClr val="E6E4E1"/>
      </a:accent3>
      <a:accent4>
        <a:srgbClr val="9CB4AF"/>
      </a:accent4>
      <a:accent5>
        <a:srgbClr val="D5C2B5"/>
      </a:accent5>
      <a:accent6>
        <a:srgbClr val="E6E3E1"/>
      </a:accent6>
      <a:hlink>
        <a:srgbClr val="0C433B"/>
      </a:hlink>
      <a:folHlink>
        <a:srgbClr val="237F7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rtlCol="0">
        <a:spAutoFit/>
      </a:bodyPr>
      <a:lstStyle>
        <a:defPPr>
          <a:defRPr baseline="0" dirty="0" smtClean="0">
            <a:solidFill>
              <a:srgbClr val="174E42"/>
            </a:solidFill>
            <a:latin typeface="Franklin Gothic Book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lokk_template_16_9" id="{E70258E5-CE58-1C4A-A725-95D2C7AB9F83}" vid="{7EEFF6F5-01A7-E146-A1AA-ADE6274CE38A}"/>
    </a:ext>
  </a:extLst>
</a:theme>
</file>

<file path=ppt/theme/theme2.xml><?xml version="1.0" encoding="utf-8"?>
<a:theme xmlns:a="http://schemas.openxmlformats.org/drawingml/2006/main" name="Flokk">
  <a:themeElements>
    <a:clrScheme name="Flokk">
      <a:dk1>
        <a:srgbClr val="222222"/>
      </a:dk1>
      <a:lt1>
        <a:srgbClr val="FFFFFF"/>
      </a:lt1>
      <a:dk2>
        <a:srgbClr val="164E41"/>
      </a:dk2>
      <a:lt2>
        <a:srgbClr val="E0DCD9"/>
      </a:lt2>
      <a:accent1>
        <a:srgbClr val="9CB4AF"/>
      </a:accent1>
      <a:accent2>
        <a:srgbClr val="D5C2B5"/>
      </a:accent2>
      <a:accent3>
        <a:srgbClr val="E6E4E1"/>
      </a:accent3>
      <a:accent4>
        <a:srgbClr val="9CB4AF"/>
      </a:accent4>
      <a:accent5>
        <a:srgbClr val="D5C2B5"/>
      </a:accent5>
      <a:accent6>
        <a:srgbClr val="E6E3E1"/>
      </a:accent6>
      <a:hlink>
        <a:srgbClr val="0C433B"/>
      </a:hlink>
      <a:folHlink>
        <a:srgbClr val="237F7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rtlCol="0">
        <a:spAutoFit/>
      </a:bodyPr>
      <a:lstStyle>
        <a:defPPr>
          <a:defRPr baseline="0" dirty="0" smtClean="0">
            <a:solidFill>
              <a:srgbClr val="174E42"/>
            </a:solidFill>
            <a:latin typeface="Franklin Gothic Book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lokk_template_16_9" id="{E70258E5-CE58-1C4A-A725-95D2C7AB9F83}" vid="{7EEFF6F5-01A7-E146-A1AA-ADE6274CE38A}"/>
    </a:ext>
  </a:extLst>
</a:theme>
</file>

<file path=ppt/theme/theme3.xml><?xml version="1.0" encoding="utf-8"?>
<a:theme xmlns:a="http://schemas.openxmlformats.org/drawingml/2006/main" name="COVER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Pakiet 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ec24231-af33-4393-8b25-009bc2e7ca9e" xsi:nil="true"/>
    <lcf76f155ced4ddcb4097134ff3c332f xmlns="292b8c96-74c9-4f3e-9693-f229e7f0d5d0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93E2D064B85354E8B61AF8BACE93875" ma:contentTypeVersion="11" ma:contentTypeDescription="Utwórz nowy dokument." ma:contentTypeScope="" ma:versionID="a0f3c1c9483d92f9619fce4bfd3ffaf8">
  <xsd:schema xmlns:xsd="http://www.w3.org/2001/XMLSchema" xmlns:xs="http://www.w3.org/2001/XMLSchema" xmlns:p="http://schemas.microsoft.com/office/2006/metadata/properties" xmlns:ns2="292b8c96-74c9-4f3e-9693-f229e7f0d5d0" xmlns:ns3="9ec24231-af33-4393-8b25-009bc2e7ca9e" targetNamespace="http://schemas.microsoft.com/office/2006/metadata/properties" ma:root="true" ma:fieldsID="13b2a13a0d6404aae9e16a5371120ed5" ns2:_="" ns3:_="">
    <xsd:import namespace="292b8c96-74c9-4f3e-9693-f229e7f0d5d0"/>
    <xsd:import namespace="9ec24231-af33-4393-8b25-009bc2e7ca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2b8c96-74c9-4f3e-9693-f229e7f0d5d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Tagi obrazów" ma:readOnly="false" ma:fieldId="{5cf76f15-5ced-4ddc-b409-7134ff3c332f}" ma:taxonomyMulti="true" ma:sspId="79a2a56f-892c-47f2-b04f-7c4cdc3e1dd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c24231-af33-4393-8b25-009bc2e7ca9e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92b15786-3bfa-4160-a789-5119474edc38}" ma:internalName="TaxCatchAll" ma:showField="CatchAllData" ma:web="9ec24231-af33-4393-8b25-009bc2e7ca9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FD4971E-65BE-4043-80FF-CBAF37FE4848}">
  <ds:schemaRefs>
    <ds:schemaRef ds:uri="292b8c96-74c9-4f3e-9693-f229e7f0d5d0"/>
    <ds:schemaRef ds:uri="9ec24231-af33-4393-8b25-009bc2e7ca9e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A2015FE-B61F-4FC7-96AB-92C2C5CD7D6B}"/>
</file>

<file path=customXml/itemProps3.xml><?xml version="1.0" encoding="utf-8"?>
<ds:datastoreItem xmlns:ds="http://schemas.openxmlformats.org/officeDocument/2006/customXml" ds:itemID="{BC30911B-E196-45B3-9459-1DF35545589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3</Words>
  <Application>Microsoft Office PowerPoint</Application>
  <PresentationFormat>Panoramiczny</PresentationFormat>
  <Paragraphs>22</Paragraphs>
  <Slides>2</Slides>
  <Notes>2</Notes>
  <HiddenSlides>0</HiddenSlides>
  <MMClips>0</MMClips>
  <ScaleCrop>false</ScaleCrop>
  <HeadingPairs>
    <vt:vector size="8" baseType="variant">
      <vt:variant>
        <vt:lpstr>Używane czcionki</vt:lpstr>
      </vt:variant>
      <vt:variant>
        <vt:i4>6</vt:i4>
      </vt:variant>
      <vt:variant>
        <vt:lpstr>Motyw</vt:lpstr>
      </vt:variant>
      <vt:variant>
        <vt:i4>3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</vt:i4>
      </vt:variant>
    </vt:vector>
  </HeadingPairs>
  <TitlesOfParts>
    <vt:vector size="12" baseType="lpstr">
      <vt:lpstr>Aptos</vt:lpstr>
      <vt:lpstr>Arial</vt:lpstr>
      <vt:lpstr>Arial Regular</vt:lpstr>
      <vt:lpstr>Franklin Gothic Book</vt:lpstr>
      <vt:lpstr>Post Grotesk</vt:lpstr>
      <vt:lpstr>Wingdings</vt:lpstr>
      <vt:lpstr>18_Flokk</vt:lpstr>
      <vt:lpstr>Flokk</vt:lpstr>
      <vt:lpstr>COVER</vt:lpstr>
      <vt:lpstr>think-cell Slide</vt:lpstr>
      <vt:lpstr>Jak pozbyć się produktu  - Profim Snap</vt:lpstr>
      <vt:lpstr>Jak pozbyć się produktu  - Profim Sna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dispose of chair  - Profim Normo</dc:title>
  <dc:creator>Damian Bąkowski</dc:creator>
  <cp:lastModifiedBy>Damian Bąkowski</cp:lastModifiedBy>
  <cp:revision>1</cp:revision>
  <dcterms:created xsi:type="dcterms:W3CDTF">2024-03-06T10:07:21Z</dcterms:created>
  <dcterms:modified xsi:type="dcterms:W3CDTF">2024-09-27T11:58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3E2D064B85354E8B61AF8BACE93875</vt:lpwstr>
  </property>
  <property fmtid="{D5CDD505-2E9C-101B-9397-08002B2CF9AE}" pid="3" name="MediaServiceImageTags">
    <vt:lpwstr/>
  </property>
</Properties>
</file>